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rawings/vmlDrawing1.vml" ContentType="application/vnd.openxmlformats-officedocument.vmlDrawing"/>
  <Override PartName="/ppt/embeddings/oleObject1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Relationship Id="rId3" Type="http://schemas.openxmlformats.org/package/2006/relationships/metadata/core-properties" Target="docProps/core.xml"/><Relationship Id="rId4" Type="http://schemas.openxmlformats.org/package/2006/relationships/metadata/thumbnail" Target="docProps/thumbnail.jpeg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11094050" r:id="rId5"/>
    <p:sldId id="11094051" r:id="rId3"/>
    <p:sldId id="11094052" r:id="rId13"/>
    <p:sldId id="11094053" r:id="rId14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08" userDrawn="1">
          <p15:clr>
            <a:srgbClr val="A4A3A4"/>
          </p15:clr>
        </p15:guide>
        <p15:guide id="2" pos="3554" userDrawn="1">
          <p15:clr>
            <a:srgbClr val="A4A3A4"/>
          </p15:clr>
        </p15:guide>
        <p15:guide id="3" pos="133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lix" initials="F" lastIdx="3" clrIdx="0"/>
  <p:cmAuthor id="2" name="焦 斐" initials="焦" lastIdx="1" clrIdx="1"/>
  <p:cmAuthor id="3" name="SoCar" initials="S" lastIdx="1" clrIdx="2"/>
  <p:cmAuthor id="4" name="38563" initials="3" lastIdx="1" clrIdx="3"/>
  <p:cmAuthor id="7" name="熊仪_aYju7RJj" initials="熊" lastIdx="0" clrIdx="0"/>
  <p:cmAuthor id="8" name="yifei" initials="y" lastIdx="1" clrIdx="7"/>
  <p:cmAuthor id="9" name="ADMIN" initials="A" lastIdx="1" clrIdx="8"/>
  <p:cmAuthor id="5" name="李晓菲_MZFnUzi6" initials="李" lastIdx="0" clrIdx="0"/>
  <p:cmAuthor id="6" name="小珞_QjMfU7FR" initials="小" lastIdx="0" clrIdx="0"/>
  <p:cmAuthor id="2001" name="骆倩怡_Znauj26B" initials="authorId_382814100" lastIdx="0" clrIdx="0"/>
  <p:cmAuthor id="13" name="兆源 刘" initials="兆刘" lastIdx="0" clrIdx="12"/>
  <p:cmAuthor id="14" name="张邦佐།" initials="张" lastIdx="0" clrIdx="13"/>
  <p:cmAuthor id="15" name="HP" initials="H" lastIdx="0" clrIdx="14"/>
  <p:cmAuthor id="16" name="qingxiu.guo@so.car" initials="q" lastIdx="0" clrIdx="1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3E45"/>
    <a:srgbClr val="A6BAB9"/>
    <a:srgbClr val="FFB700"/>
    <a:srgbClr val="4FB6B9"/>
    <a:srgbClr val="FFCEB3"/>
    <a:srgbClr val="FFDFCC"/>
    <a:srgbClr val="FC6502"/>
    <a:srgbClr val="CA5302"/>
    <a:srgbClr val="FBA971"/>
    <a:srgbClr val="1889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69" autoAdjust="0"/>
    <p:restoredTop sz="95658" autoAdjust="0"/>
  </p:normalViewPr>
  <p:slideViewPr>
    <p:cSldViewPr snapToGrid="0" showGuides="1">
      <p:cViewPr varScale="1">
        <p:scale>
          <a:sx n="151" d="100"/>
          <a:sy n="151" d="100"/>
        </p:scale>
        <p:origin x="432" y="72"/>
      </p:cViewPr>
      <p:guideLst>
        <p:guide orient="horz" pos="2508"/>
        <p:guide pos="3554"/>
        <p:guide pos="133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" Target="slides/slide3.xml"/><Relationship Id="rId5" Type="http://schemas.openxmlformats.org/officeDocument/2006/relationships/slide" Target="slides/slide2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ableStyles" Target="tableStyles.xml"/><Relationship Id="rId11" Type="http://schemas.openxmlformats.org/officeDocument/2006/relationships/commentAuthors" Target="commentAuthors.xml"/><Relationship Id="rId12" Type="http://schemas.openxmlformats.org/officeDocument/2006/relationships/tags" Target="tags/tag4.xml"/><Relationship Id="rId13" Type="http://schemas.openxmlformats.org/officeDocument/2006/relationships/slide" Target="slides/slide4.xml"/><Relationship Id="rId14" Type="http://schemas.openxmlformats.org/officeDocument/2006/relationships/slide" Target="slides/slide5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D25A95-5052-4C53-9EBF-CEEC14979AA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41349E-7B3A-441A-9750-1FD817F4A8EB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microsoft.com/office/2007/relationships/hdphoto" Target="../media/image2.wdp"/><Relationship Id="rId4" Type="http://schemas.openxmlformats.org/officeDocument/2006/relationships/image" Target="../media/image3.png"/><Relationship Id="rId5" Type="http://schemas.microsoft.com/office/2007/relationships/hdphoto" Target="../media/image4.wdp"/><Relationship Id="rId6" Type="http://schemas.openxmlformats.org/officeDocument/2006/relationships/image" Target="../media/image5.png"/><Relationship Id="rId7" Type="http://schemas.openxmlformats.org/officeDocument/2006/relationships/image" Target="../media/image6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 trans="1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4360968" y="1488330"/>
            <a:ext cx="2488212" cy="207282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risscrossEtching trans="7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250797" y="633442"/>
            <a:ext cx="4560203" cy="2103302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6" cstate="screen">
            <a:lum bright="18000" contrast="-18000"/>
          </a:blip>
          <a:srcRect/>
          <a:stretch>
            <a:fillRect/>
          </a:stretch>
        </p:blipFill>
        <p:spPr>
          <a:xfrm>
            <a:off x="2073638" y="1973289"/>
            <a:ext cx="1811655" cy="1975485"/>
          </a:xfrm>
          <a:prstGeom prst="rect">
            <a:avLst/>
          </a:prstGeom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B1E6-5266-4652-8179-DD992C133F7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A26340-F2E9-475D-A72E-3D1F4369C6B5}" type="slidenum">
              <a:rPr lang="en-US" smtClean="0"/>
            </a:fld>
            <a:endParaRPr lang="en-US" dirty="0"/>
          </a:p>
        </p:txBody>
      </p:sp>
      <p:sp>
        <p:nvSpPr>
          <p:cNvPr id="6" name="Rectangle 9"/>
          <p:cNvSpPr/>
          <p:nvPr userDrawn="1"/>
        </p:nvSpPr>
        <p:spPr>
          <a:xfrm>
            <a:off x="-2" y="-19208"/>
            <a:ext cx="12192000" cy="6877208"/>
          </a:xfrm>
          <a:prstGeom prst="rect">
            <a:avLst/>
          </a:prstGeom>
          <a:solidFill>
            <a:srgbClr val="0A3E45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7" name="Rectangle 18"/>
          <p:cNvSpPr/>
          <p:nvPr userDrawn="1"/>
        </p:nvSpPr>
        <p:spPr>
          <a:xfrm>
            <a:off x="-2" y="3985467"/>
            <a:ext cx="12192000" cy="2017061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6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pic>
        <p:nvPicPr>
          <p:cNvPr id="8" name="Picture 2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628599" y="3480499"/>
            <a:ext cx="928129" cy="213535"/>
          </a:xfrm>
          <a:prstGeom prst="rect">
            <a:avLst/>
          </a:prstGeom>
        </p:spPr>
      </p:pic>
      <p:sp>
        <p:nvSpPr>
          <p:cNvPr id="9" name="Isosceles Triangle 10"/>
          <p:cNvSpPr/>
          <p:nvPr userDrawn="1"/>
        </p:nvSpPr>
        <p:spPr>
          <a:xfrm rot="5400000" flipH="1">
            <a:off x="76736" y="4414499"/>
            <a:ext cx="386236" cy="199932"/>
          </a:xfrm>
          <a:prstGeom prst="triangle">
            <a:avLst>
              <a:gd name="adj" fmla="val 50000"/>
            </a:avLst>
          </a:prstGeom>
          <a:solidFill>
            <a:srgbClr val="FC6502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3"/>
          </p:nvPr>
        </p:nvSpPr>
        <p:spPr>
          <a:xfrm>
            <a:off x="495106" y="4215150"/>
            <a:ext cx="9493908" cy="669084"/>
          </a:xfrm>
        </p:spPr>
        <p:txBody>
          <a:bodyPr>
            <a:normAutofit/>
          </a:bodyPr>
          <a:lstStyle>
            <a:lvl1pPr marL="0" indent="0">
              <a:buNone/>
              <a:defRPr sz="3600" b="1"/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6" name="文本占位符 15"/>
          <p:cNvSpPr>
            <a:spLocks noGrp="1"/>
          </p:cNvSpPr>
          <p:nvPr>
            <p:ph type="body" sz="quarter" idx="14"/>
          </p:nvPr>
        </p:nvSpPr>
        <p:spPr>
          <a:xfrm>
            <a:off x="493161" y="4979196"/>
            <a:ext cx="8408639" cy="369332"/>
          </a:xfr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293" y="174170"/>
            <a:ext cx="11913325" cy="86191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14000"/>
              </a:lnSpc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cxnSp>
        <p:nvCxnSpPr>
          <p:cNvPr id="9" name="Straight Connector 19"/>
          <p:cNvCxnSpPr/>
          <p:nvPr/>
        </p:nvCxnSpPr>
        <p:spPr>
          <a:xfrm>
            <a:off x="267969" y="1110465"/>
            <a:ext cx="1192403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41"/>
          <p:cNvGrpSpPr/>
          <p:nvPr/>
        </p:nvGrpSpPr>
        <p:grpSpPr>
          <a:xfrm>
            <a:off x="11492458" y="1042351"/>
            <a:ext cx="502398" cy="138218"/>
            <a:chOff x="11615791" y="1044648"/>
            <a:chExt cx="502398" cy="175438"/>
          </a:xfrm>
        </p:grpSpPr>
        <p:sp>
          <p:nvSpPr>
            <p:cNvPr id="11" name="Arrow: Chevron 38"/>
            <p:cNvSpPr/>
            <p:nvPr/>
          </p:nvSpPr>
          <p:spPr>
            <a:xfrm>
              <a:off x="11615791" y="1044648"/>
              <a:ext cx="186068" cy="175438"/>
            </a:xfrm>
            <a:prstGeom prst="chevron">
              <a:avLst>
                <a:gd name="adj" fmla="val 54028"/>
              </a:avLst>
            </a:prstGeom>
            <a:solidFill>
              <a:srgbClr val="B2EB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2" name="Arrow: Chevron 39"/>
            <p:cNvSpPr/>
            <p:nvPr/>
          </p:nvSpPr>
          <p:spPr>
            <a:xfrm>
              <a:off x="11773956" y="1044648"/>
              <a:ext cx="186068" cy="175438"/>
            </a:xfrm>
            <a:prstGeom prst="chevron">
              <a:avLst>
                <a:gd name="adj" fmla="val 54028"/>
              </a:avLst>
            </a:prstGeom>
            <a:solidFill>
              <a:srgbClr val="B2EB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3" name="Arrow: Chevron 40"/>
            <p:cNvSpPr/>
            <p:nvPr/>
          </p:nvSpPr>
          <p:spPr>
            <a:xfrm>
              <a:off x="11932121" y="1044648"/>
              <a:ext cx="186068" cy="175438"/>
            </a:xfrm>
            <a:prstGeom prst="chevron">
              <a:avLst>
                <a:gd name="adj" fmla="val 54028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/>
          <p:nvPr/>
        </p:nvSpPr>
        <p:spPr>
          <a:xfrm>
            <a:off x="-2" y="-1"/>
            <a:ext cx="12192000" cy="6877208"/>
          </a:xfrm>
          <a:prstGeom prst="rect">
            <a:avLst/>
          </a:prstGeom>
          <a:solidFill>
            <a:srgbClr val="0A3E45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11"/>
          <p:cNvPicPr>
            <a:picLocks noChangeAspect="1"/>
          </p:cNvPicPr>
          <p:nvPr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0" y="3169449"/>
            <a:ext cx="12460641" cy="2866829"/>
          </a:xfrm>
          <a:prstGeom prst="rect">
            <a:avLst/>
          </a:prstGeom>
        </p:spPr>
      </p:pic>
      <p:sp>
        <p:nvSpPr>
          <p:cNvPr id="4" name="Rectangle 15"/>
          <p:cNvSpPr/>
          <p:nvPr/>
        </p:nvSpPr>
        <p:spPr>
          <a:xfrm flipH="1">
            <a:off x="-2" y="4613077"/>
            <a:ext cx="12192000" cy="1414392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6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8079206" y="4720110"/>
            <a:ext cx="347479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7200" dirty="0">
                <a:solidFill>
                  <a:srgbClr val="09383E"/>
                </a:solidFill>
                <a:latin typeface="Tw Cen MT" panose="020B0602020104020603" pitchFamily="34" charset="0"/>
                <a:ea typeface="微软雅黑" panose="020B0503020204020204" charset="-122"/>
              </a:rPr>
              <a:t>THANKS.</a:t>
            </a:r>
            <a:endParaRPr lang="en-US" sz="7200" dirty="0">
              <a:solidFill>
                <a:srgbClr val="09383E"/>
              </a:solidFill>
            </a:endParaRPr>
          </a:p>
        </p:txBody>
      </p:sp>
      <p:sp>
        <p:nvSpPr>
          <p:cNvPr id="6" name="Isosceles Triangle 13"/>
          <p:cNvSpPr/>
          <p:nvPr/>
        </p:nvSpPr>
        <p:spPr>
          <a:xfrm rot="16200000">
            <a:off x="11561521" y="5194770"/>
            <a:ext cx="484906" cy="251008"/>
          </a:xfrm>
          <a:prstGeom prst="triangle">
            <a:avLst>
              <a:gd name="adj" fmla="val 50000"/>
            </a:avLst>
          </a:prstGeom>
          <a:solidFill>
            <a:srgbClr val="FC6502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ags" Target="../tags/tag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8.emf"/><Relationship Id="rId7" Type="http://schemas.openxmlformats.org/officeDocument/2006/relationships/image" Target="../media/image9.png"/><Relationship Id="rId8" Type="http://schemas.microsoft.com/office/2007/relationships/hdphoto" Target="../media/image10.wdp"/><Relationship Id="rId9" Type="http://schemas.openxmlformats.org/officeDocument/2006/relationships/vmlDrawing" Target="../drawings/vmlDrawing1.v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对象 29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0" name="对象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12B1E6-5266-4652-8179-DD992C133F7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A26340-F2E9-475D-A72E-3D1F4369C6B5}" type="slidenum">
              <a:rPr lang="en-US" smtClean="0"/>
            </a:fld>
            <a:endParaRPr lang="en-US" dirty="0"/>
          </a:p>
        </p:txBody>
      </p:sp>
      <p:sp>
        <p:nvSpPr>
          <p:cNvPr id="8" name="Rectangle 25"/>
          <p:cNvSpPr/>
          <p:nvPr/>
        </p:nvSpPr>
        <p:spPr>
          <a:xfrm>
            <a:off x="12363725" y="1266"/>
            <a:ext cx="759288" cy="2713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26"/>
          <p:cNvSpPr/>
          <p:nvPr/>
        </p:nvSpPr>
        <p:spPr>
          <a:xfrm>
            <a:off x="12363725" y="347867"/>
            <a:ext cx="759288" cy="271306"/>
          </a:xfrm>
          <a:prstGeom prst="rect">
            <a:avLst/>
          </a:prstGeom>
          <a:solidFill>
            <a:srgbClr val="C2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27"/>
          <p:cNvSpPr/>
          <p:nvPr/>
        </p:nvSpPr>
        <p:spPr>
          <a:xfrm>
            <a:off x="12363725" y="1387670"/>
            <a:ext cx="759288" cy="271306"/>
          </a:xfrm>
          <a:prstGeom prst="rect">
            <a:avLst/>
          </a:prstGeom>
          <a:solidFill>
            <a:srgbClr val="9CD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8"/>
          <p:cNvSpPr/>
          <p:nvPr/>
        </p:nvSpPr>
        <p:spPr>
          <a:xfrm>
            <a:off x="12363725" y="694468"/>
            <a:ext cx="759288" cy="271306"/>
          </a:xfrm>
          <a:prstGeom prst="rect">
            <a:avLst/>
          </a:prstGeom>
          <a:solidFill>
            <a:srgbClr val="A6BA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29"/>
          <p:cNvSpPr/>
          <p:nvPr/>
        </p:nvSpPr>
        <p:spPr>
          <a:xfrm>
            <a:off x="12363725" y="1041069"/>
            <a:ext cx="759288" cy="271306"/>
          </a:xfrm>
          <a:prstGeom prst="rect">
            <a:avLst/>
          </a:prstGeom>
          <a:solidFill>
            <a:srgbClr val="565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30"/>
          <p:cNvSpPr/>
          <p:nvPr/>
        </p:nvSpPr>
        <p:spPr>
          <a:xfrm>
            <a:off x="12363725" y="1734271"/>
            <a:ext cx="759288" cy="271306"/>
          </a:xfrm>
          <a:prstGeom prst="rect">
            <a:avLst/>
          </a:prstGeom>
          <a:solidFill>
            <a:srgbClr val="4FB6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31"/>
          <p:cNvSpPr/>
          <p:nvPr/>
        </p:nvSpPr>
        <p:spPr>
          <a:xfrm>
            <a:off x="12363725" y="2080872"/>
            <a:ext cx="759288" cy="271306"/>
          </a:xfrm>
          <a:prstGeom prst="rect">
            <a:avLst/>
          </a:prstGeom>
          <a:solidFill>
            <a:srgbClr val="039B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32"/>
          <p:cNvSpPr/>
          <p:nvPr/>
        </p:nvSpPr>
        <p:spPr>
          <a:xfrm>
            <a:off x="12363725" y="2427473"/>
            <a:ext cx="759288" cy="271306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33"/>
          <p:cNvSpPr/>
          <p:nvPr/>
        </p:nvSpPr>
        <p:spPr>
          <a:xfrm>
            <a:off x="12363725" y="2774074"/>
            <a:ext cx="759288" cy="271306"/>
          </a:xfrm>
          <a:prstGeom prst="rect">
            <a:avLst/>
          </a:prstGeom>
          <a:solidFill>
            <a:srgbClr val="B2E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34"/>
          <p:cNvSpPr/>
          <p:nvPr/>
        </p:nvSpPr>
        <p:spPr>
          <a:xfrm>
            <a:off x="12363725" y="3120675"/>
            <a:ext cx="759288" cy="271306"/>
          </a:xfrm>
          <a:prstGeom prst="rect">
            <a:avLst/>
          </a:prstGeom>
          <a:solidFill>
            <a:srgbClr val="7ADD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35"/>
          <p:cNvSpPr/>
          <p:nvPr/>
        </p:nvSpPr>
        <p:spPr>
          <a:xfrm>
            <a:off x="12363725" y="3467276"/>
            <a:ext cx="759288" cy="271306"/>
          </a:xfrm>
          <a:prstGeom prst="rect">
            <a:avLst/>
          </a:prstGeom>
          <a:solidFill>
            <a:srgbClr val="4CD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36"/>
          <p:cNvSpPr/>
          <p:nvPr/>
        </p:nvSpPr>
        <p:spPr>
          <a:xfrm>
            <a:off x="12363725" y="3813877"/>
            <a:ext cx="759288" cy="271306"/>
          </a:xfrm>
          <a:prstGeom prst="rect">
            <a:avLst/>
          </a:prstGeom>
          <a:solidFill>
            <a:srgbClr val="20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50"/>
          <p:cNvSpPr/>
          <p:nvPr/>
        </p:nvSpPr>
        <p:spPr>
          <a:xfrm>
            <a:off x="12363725" y="4160478"/>
            <a:ext cx="759288" cy="271306"/>
          </a:xfrm>
          <a:prstGeom prst="rect">
            <a:avLst/>
          </a:prstGeom>
          <a:solidFill>
            <a:srgbClr val="FBA9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51"/>
          <p:cNvSpPr/>
          <p:nvPr/>
        </p:nvSpPr>
        <p:spPr>
          <a:xfrm>
            <a:off x="12363725" y="4507079"/>
            <a:ext cx="759288" cy="271306"/>
          </a:xfrm>
          <a:prstGeom prst="rect">
            <a:avLst/>
          </a:prstGeom>
          <a:solidFill>
            <a:srgbClr val="F787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52"/>
          <p:cNvSpPr/>
          <p:nvPr/>
        </p:nvSpPr>
        <p:spPr>
          <a:xfrm>
            <a:off x="12363725" y="4853680"/>
            <a:ext cx="759288" cy="271306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53"/>
          <p:cNvSpPr/>
          <p:nvPr/>
        </p:nvSpPr>
        <p:spPr>
          <a:xfrm>
            <a:off x="12363725" y="5200281"/>
            <a:ext cx="759288" cy="271306"/>
          </a:xfrm>
          <a:prstGeom prst="rect">
            <a:avLst/>
          </a:prstGeom>
          <a:solidFill>
            <a:srgbClr val="CA53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59"/>
          <p:cNvSpPr/>
          <p:nvPr/>
        </p:nvSpPr>
        <p:spPr>
          <a:xfrm>
            <a:off x="12363725" y="5546882"/>
            <a:ext cx="759288" cy="27130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60"/>
          <p:cNvSpPr/>
          <p:nvPr/>
        </p:nvSpPr>
        <p:spPr>
          <a:xfrm>
            <a:off x="12363725" y="5893483"/>
            <a:ext cx="759288" cy="271306"/>
          </a:xfrm>
          <a:prstGeom prst="rect">
            <a:avLst/>
          </a:prstGeom>
          <a:solidFill>
            <a:srgbClr val="FFB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62"/>
          <p:cNvSpPr/>
          <p:nvPr/>
        </p:nvSpPr>
        <p:spPr>
          <a:xfrm>
            <a:off x="12363725" y="6240084"/>
            <a:ext cx="759288" cy="271306"/>
          </a:xfrm>
          <a:prstGeom prst="rect">
            <a:avLst/>
          </a:prstGeom>
          <a:solidFill>
            <a:srgbClr val="EA94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63"/>
          <p:cNvSpPr/>
          <p:nvPr/>
        </p:nvSpPr>
        <p:spPr>
          <a:xfrm>
            <a:off x="12363725" y="6586694"/>
            <a:ext cx="759288" cy="271306"/>
          </a:xfrm>
          <a:prstGeom prst="rect">
            <a:avLst/>
          </a:prstGeom>
          <a:solidFill>
            <a:srgbClr val="CE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4"/>
          <p:cNvSpPr txBox="1"/>
          <p:nvPr/>
        </p:nvSpPr>
        <p:spPr>
          <a:xfrm>
            <a:off x="12374090" y="2427473"/>
            <a:ext cx="7489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dirty="0">
                <a:solidFill>
                  <a:schemeClr val="bg1"/>
                </a:solidFill>
              </a:rPr>
              <a:t>字体主色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9" name="TextBox 65"/>
          <p:cNvSpPr txBox="1"/>
          <p:nvPr/>
        </p:nvSpPr>
        <p:spPr>
          <a:xfrm>
            <a:off x="12449057" y="4853680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dirty="0">
                <a:solidFill>
                  <a:schemeClr val="bg1"/>
                </a:solidFill>
              </a:rPr>
              <a:t>强调色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31" name="Slide Number Placeholder 14"/>
          <p:cNvSpPr txBox="1"/>
          <p:nvPr/>
        </p:nvSpPr>
        <p:spPr>
          <a:xfrm>
            <a:off x="9448800" y="661084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Tw Cen MT" panose="020B06020201040206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A26340-F2E9-475D-A72E-3D1F4369C6B5}" type="slidenum">
              <a:rPr lang="en-US" smtClean="0"/>
            </a:fld>
            <a:endParaRPr lang="en-US" dirty="0"/>
          </a:p>
        </p:txBody>
      </p:sp>
      <p:pic>
        <p:nvPicPr>
          <p:cNvPr id="33" name="Picture 43"/>
          <p:cNvPicPr>
            <a:picLocks noChangeAspect="1"/>
          </p:cNvPicPr>
          <p:nvPr/>
        </p:nvPicPr>
        <p:blipFill rotWithShape="1">
          <a:blip r:embed="rId7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11724413" y="6724072"/>
            <a:ext cx="467495" cy="11394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600" b="1">
                <a:solidFill>
                  <a:srgbClr val="0A3E45"/>
                </a:solidFill>
              </a:defRPr>
            </a:pPr>
            <a:r>
              <a:t>SOCAR 参考素材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7200" y="1188720"/>
            <a:ext cx="109728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400" b="0">
                <a:solidFill>
                  <a:srgbClr val="8A7763"/>
                </a:solidFill>
              </a:defRPr>
            </a:pPr>
            <a:r>
              <a:t>三页参考幻灯片素材 · 已做清晰化处理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7200" y="2286000"/>
            <a:ext cx="109728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200" b="0">
                <a:solidFill>
                  <a:srgbClr val="8A7763"/>
                </a:solidFill>
              </a:defRPr>
            </a:pPr>
            <a:r>
              <a:t>以下内容基于项目流程参考材料整理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274320" y="137160"/>
            <a:ext cx="27432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200" b="1">
                <a:solidFill>
                  <a:srgbClr val="0A3E45"/>
                </a:solidFill>
              </a:defRPr>
            </a:pPr>
            <a:r>
              <a:t>3-5年产品中长期规划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029200" y="137160"/>
            <a:ext cx="27432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200" b="1">
                <a:solidFill>
                  <a:srgbClr val="FC6502"/>
                </a:solidFill>
              </a:defRPr>
            </a:pPr>
            <a:r>
              <a:t>单一产品诞生 → 产品演变</a:t>
            </a:r>
          </a:p>
        </p:txBody>
      </p:sp>
      <p:sp>
        <p:nvSpPr>
          <p:cNvPr id="5" name="Rectangle 4"/>
          <p:cNvSpPr/>
          <p:nvPr/>
        </p:nvSpPr>
        <p:spPr>
          <a:xfrm>
            <a:off x="274320" y="457200"/>
            <a:ext cx="100584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6" name="TextBox 5"/>
          <p:cNvSpPr txBox="1"/>
          <p:nvPr/>
        </p:nvSpPr>
        <p:spPr>
          <a:xfrm>
            <a:off x="274320" y="457200"/>
            <a:ext cx="10058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MTP输入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74320" y="685800"/>
            <a:ext cx="100584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0">
                <a:solidFill>
                  <a:srgbClr val="8A7763"/>
                </a:solidFill>
              </a:defRPr>
            </a:pPr>
            <a:r>
              <a:t>-44</a:t>
            </a:r>
          </a:p>
        </p:txBody>
      </p:sp>
      <p:sp>
        <p:nvSpPr>
          <p:cNvPr id="8" name="Rectangle 7"/>
          <p:cNvSpPr/>
          <p:nvPr/>
        </p:nvSpPr>
        <p:spPr>
          <a:xfrm>
            <a:off x="1371600" y="457200"/>
            <a:ext cx="100584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9" name="TextBox 8"/>
          <p:cNvSpPr txBox="1"/>
          <p:nvPr/>
        </p:nvSpPr>
        <p:spPr>
          <a:xfrm>
            <a:off x="1371600" y="457200"/>
            <a:ext cx="10058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立项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371600" y="685800"/>
            <a:ext cx="100584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0">
                <a:solidFill>
                  <a:srgbClr val="8A7763"/>
                </a:solidFill>
              </a:defRPr>
            </a:pPr>
            <a:r>
              <a:t>-38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468879" y="457200"/>
            <a:ext cx="100584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12" name="TextBox 11"/>
          <p:cNvSpPr txBox="1"/>
          <p:nvPr/>
        </p:nvSpPr>
        <p:spPr>
          <a:xfrm>
            <a:off x="2468879" y="457200"/>
            <a:ext cx="10058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JA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468879" y="685800"/>
            <a:ext cx="100584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0">
                <a:solidFill>
                  <a:srgbClr val="8A7763"/>
                </a:solidFill>
              </a:defRPr>
            </a:pPr>
            <a:r>
              <a:t>-32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566159" y="457200"/>
            <a:ext cx="100584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15" name="TextBox 14"/>
          <p:cNvSpPr txBox="1"/>
          <p:nvPr/>
        </p:nvSpPr>
        <p:spPr>
          <a:xfrm>
            <a:off x="3566159" y="457200"/>
            <a:ext cx="10058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JA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566159" y="685800"/>
            <a:ext cx="100584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0">
                <a:solidFill>
                  <a:srgbClr val="8A7763"/>
                </a:solidFill>
              </a:defRPr>
            </a:pPr>
            <a:r>
              <a:t>-28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663440" y="457200"/>
            <a:ext cx="100584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18" name="TextBox 17"/>
          <p:cNvSpPr txBox="1"/>
          <p:nvPr/>
        </p:nvSpPr>
        <p:spPr>
          <a:xfrm>
            <a:off x="4663440" y="457200"/>
            <a:ext cx="10058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方案确定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63440" y="685800"/>
            <a:ext cx="100584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0">
                <a:solidFill>
                  <a:srgbClr val="8A7763"/>
                </a:solidFill>
              </a:defRPr>
            </a:pPr>
            <a:r>
              <a:t>-24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760720" y="457200"/>
            <a:ext cx="100584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21" name="TextBox 20"/>
          <p:cNvSpPr txBox="1"/>
          <p:nvPr/>
        </p:nvSpPr>
        <p:spPr>
          <a:xfrm>
            <a:off x="5760720" y="457200"/>
            <a:ext cx="10058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ABA发布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760720" y="685800"/>
            <a:ext cx="100584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0">
                <a:solidFill>
                  <a:srgbClr val="8A7763"/>
                </a:solidFill>
              </a:defRPr>
            </a:pPr>
            <a:r>
              <a:t>-20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857999" y="457200"/>
            <a:ext cx="100584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24" name="TextBox 23"/>
          <p:cNvSpPr txBox="1"/>
          <p:nvPr/>
        </p:nvSpPr>
        <p:spPr>
          <a:xfrm>
            <a:off x="6857999" y="457200"/>
            <a:ext cx="10058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ET节点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857999" y="685800"/>
            <a:ext cx="100584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0">
                <a:solidFill>
                  <a:srgbClr val="8A7763"/>
                </a:solidFill>
              </a:defRPr>
            </a:pPr>
            <a:r>
              <a:t>-17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955280" y="457200"/>
            <a:ext cx="100584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27" name="TextBox 26"/>
          <p:cNvSpPr txBox="1"/>
          <p:nvPr/>
        </p:nvSpPr>
        <p:spPr>
          <a:xfrm>
            <a:off x="7955280" y="457200"/>
            <a:ext cx="10058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PT节点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955280" y="685800"/>
            <a:ext cx="100584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0">
                <a:solidFill>
                  <a:srgbClr val="8A7763"/>
                </a:solidFill>
              </a:defRPr>
            </a:pPr>
            <a:r>
              <a:t>-15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052560" y="457200"/>
            <a:ext cx="100584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30" name="TextBox 29"/>
          <p:cNvSpPr txBox="1"/>
          <p:nvPr/>
        </p:nvSpPr>
        <p:spPr>
          <a:xfrm>
            <a:off x="9052560" y="457200"/>
            <a:ext cx="10058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SOP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9052560" y="685800"/>
            <a:ext cx="100584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0">
                <a:solidFill>
                  <a:srgbClr val="8A7763"/>
                </a:solidFill>
              </a:defRPr>
            </a:pPr>
            <a:r>
              <a:t>-8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0149840" y="457200"/>
            <a:ext cx="100584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33" name="TextBox 32"/>
          <p:cNvSpPr txBox="1"/>
          <p:nvPr/>
        </p:nvSpPr>
        <p:spPr>
          <a:xfrm>
            <a:off x="10149840" y="457200"/>
            <a:ext cx="10058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项目结束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0149840" y="685800"/>
            <a:ext cx="100584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0">
                <a:solidFill>
                  <a:srgbClr val="8A7763"/>
                </a:solidFill>
              </a:defRPr>
            </a:pPr>
            <a:r>
              <a:t>-3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74320" y="914400"/>
            <a:ext cx="11612880" cy="54864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36" name="Rectangle 35"/>
          <p:cNvSpPr/>
          <p:nvPr/>
        </p:nvSpPr>
        <p:spPr>
          <a:xfrm>
            <a:off x="274320" y="960120"/>
            <a:ext cx="2286000" cy="182880"/>
          </a:xfrm>
          <a:prstGeom prst="rect">
            <a:avLst/>
          </a:prstGeom>
          <a:solidFill>
            <a:srgbClr val="E8E0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37" name="TextBox 36"/>
          <p:cNvSpPr txBox="1"/>
          <p:nvPr/>
        </p:nvSpPr>
        <p:spPr>
          <a:xfrm>
            <a:off x="365760" y="960120"/>
            <a:ext cx="210312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600" b="0">
                <a:solidFill>
                  <a:srgbClr val="66758D"/>
                </a:solidFill>
              </a:defRPr>
            </a:pPr>
            <a:r>
              <a:t>战略规划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560320" y="960120"/>
            <a:ext cx="2743200" cy="182880"/>
          </a:xfrm>
          <a:prstGeom prst="rect">
            <a:avLst/>
          </a:prstGeom>
          <a:solidFill>
            <a:srgbClr val="E8E0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39" name="TextBox 38"/>
          <p:cNvSpPr txBox="1"/>
          <p:nvPr/>
        </p:nvSpPr>
        <p:spPr>
          <a:xfrm>
            <a:off x="2651760" y="960120"/>
            <a:ext cx="256032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600" b="0">
                <a:solidFill>
                  <a:srgbClr val="66758D"/>
                </a:solidFill>
              </a:defRPr>
            </a:pPr>
            <a:r>
              <a:t>工程策划</a:t>
            </a:r>
          </a:p>
        </p:txBody>
      </p:sp>
      <p:sp>
        <p:nvSpPr>
          <p:cNvPr id="40" name="Rectangle 39"/>
          <p:cNvSpPr/>
          <p:nvPr/>
        </p:nvSpPr>
        <p:spPr>
          <a:xfrm>
            <a:off x="5303520" y="960120"/>
            <a:ext cx="2286000" cy="182880"/>
          </a:xfrm>
          <a:prstGeom prst="rect">
            <a:avLst/>
          </a:prstGeom>
          <a:solidFill>
            <a:srgbClr val="E8E0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41" name="TextBox 40"/>
          <p:cNvSpPr txBox="1"/>
          <p:nvPr/>
        </p:nvSpPr>
        <p:spPr>
          <a:xfrm>
            <a:off x="5394959" y="960120"/>
            <a:ext cx="210312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600" b="0">
                <a:solidFill>
                  <a:srgbClr val="66758D"/>
                </a:solidFill>
              </a:defRPr>
            </a:pPr>
            <a:r>
              <a:t>产品设计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589520" y="960120"/>
            <a:ext cx="1828800" cy="182880"/>
          </a:xfrm>
          <a:prstGeom prst="rect">
            <a:avLst/>
          </a:prstGeom>
          <a:solidFill>
            <a:srgbClr val="E8E0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43" name="TextBox 42"/>
          <p:cNvSpPr txBox="1"/>
          <p:nvPr/>
        </p:nvSpPr>
        <p:spPr>
          <a:xfrm>
            <a:off x="7680960" y="960120"/>
            <a:ext cx="164592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600" b="0">
                <a:solidFill>
                  <a:srgbClr val="66758D"/>
                </a:solidFill>
              </a:defRPr>
            </a:pPr>
            <a:r>
              <a:t>生产准备</a:t>
            </a:r>
          </a:p>
        </p:txBody>
      </p:sp>
      <p:sp>
        <p:nvSpPr>
          <p:cNvPr id="44" name="Rectangle 43"/>
          <p:cNvSpPr/>
          <p:nvPr/>
        </p:nvSpPr>
        <p:spPr>
          <a:xfrm>
            <a:off x="9418320" y="960120"/>
            <a:ext cx="2743200" cy="182880"/>
          </a:xfrm>
          <a:prstGeom prst="rect">
            <a:avLst/>
          </a:prstGeom>
          <a:solidFill>
            <a:srgbClr val="E8E0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45" name="TextBox 44"/>
          <p:cNvSpPr txBox="1"/>
          <p:nvPr/>
        </p:nvSpPr>
        <p:spPr>
          <a:xfrm>
            <a:off x="9509760" y="960120"/>
            <a:ext cx="256032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600" b="0">
                <a:solidFill>
                  <a:srgbClr val="66758D"/>
                </a:solidFill>
              </a:defRPr>
            </a:pPr>
            <a:r>
              <a:t>量产</a:t>
            </a:r>
          </a:p>
        </p:txBody>
      </p:sp>
      <p:sp>
        <p:nvSpPr>
          <p:cNvPr id="46" name="Rectangle 45"/>
          <p:cNvSpPr/>
          <p:nvPr/>
        </p:nvSpPr>
        <p:spPr>
          <a:xfrm>
            <a:off x="274320" y="1280160"/>
            <a:ext cx="11612880" cy="18288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47" name="TextBox 46"/>
          <p:cNvSpPr txBox="1"/>
          <p:nvPr/>
        </p:nvSpPr>
        <p:spPr>
          <a:xfrm>
            <a:off x="274320" y="1325880"/>
            <a:ext cx="365760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100" b="1">
                <a:solidFill>
                  <a:srgbClr val="0A3E45"/>
                </a:solidFill>
              </a:defRPr>
            </a:pPr>
            <a:r>
              <a:t>自主乘用车事业发展委员会（集团）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74320" y="1554480"/>
            <a:ext cx="548640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800" b="0">
                <a:solidFill>
                  <a:srgbClr val="66758D"/>
                </a:solidFill>
              </a:defRPr>
            </a:pPr>
            <a:r>
              <a:t>主任委员：董事长或其授权人       |       会议频次：2/5/8/11月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57200" y="1783080"/>
            <a:ext cx="10972800" cy="9144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1. 审议（P）（V）（U）规划</a:t>
            </a:r>
          </a:p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2. 批准自主乘用车项目中长期计划及规划</a:t>
            </a:r>
          </a:p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3. 批准基于平台、动力总成A/B级内项目总项</a:t>
            </a:r>
          </a:p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4. 审议品牌（含新设）、产品战略、新业务方案（含合资合作）</a:t>
            </a:r>
          </a:p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5. 审议品牌全系产品型谱、产品生命周期管理（PLM）</a:t>
            </a:r>
          </a:p>
        </p:txBody>
      </p:sp>
      <p:sp>
        <p:nvSpPr>
          <p:cNvPr id="50" name="Rectangle 49"/>
          <p:cNvSpPr/>
          <p:nvPr/>
        </p:nvSpPr>
        <p:spPr>
          <a:xfrm>
            <a:off x="274320" y="2834639"/>
            <a:ext cx="11612880" cy="18288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51" name="TextBox 50"/>
          <p:cNvSpPr txBox="1"/>
          <p:nvPr/>
        </p:nvSpPr>
        <p:spPr>
          <a:xfrm>
            <a:off x="274320" y="2880359"/>
            <a:ext cx="365760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100" b="1">
                <a:solidFill>
                  <a:srgbClr val="0A3E45"/>
                </a:solidFill>
              </a:defRPr>
            </a:pPr>
            <a:r>
              <a:t>一级会议 - 项目指导委员会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74320" y="3108959"/>
            <a:ext cx="548640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800" b="0">
                <a:solidFill>
                  <a:srgbClr val="66758D"/>
                </a:solidFill>
              </a:defRPr>
            </a:pPr>
            <a:r>
              <a:t>主任委员：项目总监       |       会议时间：每月第一周       |       上会节点：1 (J8)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57200" y="3337559"/>
            <a:ext cx="5486400" cy="9144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会议内容：</a:t>
            </a:r>
          </a:p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1. 推进项目FQCD达成</a:t>
            </a:r>
          </a:p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2. 重点工作及难点问题解决</a:t>
            </a:r>
          </a:p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3. 专项议题汇报</a:t>
            </a:r>
          </a:p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4. 对项目上市后表现进行复盘（J6）</a:t>
            </a:r>
          </a:p>
        </p:txBody>
      </p:sp>
      <p:sp>
        <p:nvSpPr>
          <p:cNvPr id="54" name="Rectangle 53"/>
          <p:cNvSpPr/>
          <p:nvPr/>
        </p:nvSpPr>
        <p:spPr>
          <a:xfrm>
            <a:off x="274320" y="4389120"/>
            <a:ext cx="11612880" cy="18288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55" name="TextBox 54"/>
          <p:cNvSpPr txBox="1"/>
          <p:nvPr/>
        </p:nvSpPr>
        <p:spPr>
          <a:xfrm>
            <a:off x="274320" y="4434840"/>
            <a:ext cx="365760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100" b="1">
                <a:solidFill>
                  <a:srgbClr val="0A3E45"/>
                </a:solidFill>
              </a:defRPr>
            </a:pPr>
            <a:r>
              <a:t>商品委员会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74320" y="4663440"/>
            <a:ext cx="548640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800" b="0">
                <a:solidFill>
                  <a:srgbClr val="66758D"/>
                </a:solidFill>
              </a:defRPr>
            </a:pPr>
            <a:r>
              <a:t>主任委员：分管商品副总经理       |       会议时间：每月第一周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457200" y="4892040"/>
            <a:ext cx="10972800" cy="9144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1. 研究用户、市场及TIV、细分市场变化</a:t>
            </a:r>
          </a:p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2. 结合东风乘用车（P）（V）（U），产品布局、竞争策略</a:t>
            </a:r>
          </a:p>
          <a:p>
            <a:pPr>
              <a:spcAft>
                <a:spcPts val="200"/>
              </a:spcAft>
              <a:defRPr sz="800">
                <a:solidFill>
                  <a:srgbClr val="182033"/>
                </a:solidFill>
              </a:defRPr>
            </a:pPr>
            <a:r>
              <a:t>3. 从单一产品立项到产品/规格EOP全生命周期管理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274320" y="6217920"/>
            <a:ext cx="274320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800" b="1">
                <a:solidFill>
                  <a:srgbClr val="8A7763"/>
                </a:solidFill>
              </a:defRPr>
            </a:pPr>
            <a:r>
              <a:t>SOCAR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200" b="1">
                <a:solidFill>
                  <a:srgbClr val="0A3E45"/>
                </a:solidFill>
              </a:defRPr>
            </a:pPr>
            <a:r>
              <a:t>项目组织结构及角色定义与分工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74320" y="914400"/>
            <a:ext cx="1143000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800" b="0">
                <a:solidFill>
                  <a:srgbClr val="8A7763"/>
                </a:solidFill>
              </a:defRPr>
            </a:pPr>
            <a:r>
              <a:t>Q/EQC-5000-持续对比分析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74320" y="1188720"/>
            <a:ext cx="11430000" cy="10972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900" b="0">
                <a:solidFill>
                  <a:srgbClr val="182033"/>
                </a:solidFill>
              </a:defRPr>
            </a:pPr>
            <a:r>
              <a:t>车型项目团队由项目PM和营销、企划、成本收益、造型、研发、采购、采购部品、质量、制造、车型项目治理共计10个副PM构成，研发领域又由整车、软件开发等若干一级专业联络人组成，共同构建了车型项目管理强矩阵团队（见图1），本流程基于该团队架构，定义了项目角色分工（见流程文本及附录）和项目角色和职能部门责任分工对照表（见表4）。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4320" y="2377440"/>
            <a:ext cx="11430000" cy="10972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200"/>
              </a:spcAft>
              <a:defRPr sz="800">
                <a:solidFill>
                  <a:srgbClr val="66758D"/>
                </a:solidFill>
              </a:defRPr>
            </a:pPr>
            <a:r>
              <a:t>注：</a:t>
            </a:r>
          </a:p>
          <a:p>
            <a:pPr>
              <a:spcAft>
                <a:spcPts val="200"/>
              </a:spcAft>
              <a:defRPr sz="800">
                <a:solidFill>
                  <a:srgbClr val="66758D"/>
                </a:solidFill>
              </a:defRPr>
            </a:pPr>
            <a:r>
              <a:t>1）整车项目强矩阵管理团队只包含了PM、各领域副PM，以及各专业联络人，没有子专业及重要零件设计师、</a:t>
            </a:r>
          </a:p>
          <a:p>
            <a:pPr>
              <a:spcAft>
                <a:spcPts val="200"/>
              </a:spcAft>
              <a:defRPr sz="800">
                <a:solidFill>
                  <a:srgbClr val="66758D"/>
                </a:solidFill>
              </a:defRPr>
            </a:pPr>
            <a:r>
              <a:t>    CRFT团队，以及各专业总师等内容，各项目组依据项目实际情况进行搭建。</a:t>
            </a:r>
          </a:p>
          <a:p>
            <a:pPr>
              <a:spcAft>
                <a:spcPts val="200"/>
              </a:spcAft>
              <a:defRPr sz="800">
                <a:solidFill>
                  <a:srgbClr val="66758D"/>
                </a:solidFill>
              </a:defRPr>
            </a:pPr>
            <a:r>
              <a:t>2）项目角色和职能部门责任分工对照表是基于DFRD和DFPV当前的职责分工进行定义的，后续组织机构调整或</a:t>
            </a:r>
          </a:p>
          <a:p>
            <a:pPr>
              <a:spcAft>
                <a:spcPts val="200"/>
              </a:spcAft>
              <a:defRPr sz="800">
                <a:solidFill>
                  <a:srgbClr val="66758D"/>
                </a:solidFill>
              </a:defRPr>
            </a:pPr>
            <a:r>
              <a:t>    推广应用，可以修订此表。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74320" y="3474720"/>
            <a:ext cx="45720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900" b="1">
                <a:solidFill>
                  <a:srgbClr val="0A3E45"/>
                </a:solidFill>
              </a:defRPr>
            </a:pPr>
            <a:r>
              <a:t>图1  整车项目强矩阵管理团队框架图</a:t>
            </a:r>
          </a:p>
        </p:txBody>
      </p:sp>
      <p:sp>
        <p:nvSpPr>
          <p:cNvPr id="7" name="Rectangle 6"/>
          <p:cNvSpPr/>
          <p:nvPr/>
        </p:nvSpPr>
        <p:spPr>
          <a:xfrm>
            <a:off x="274320" y="3749039"/>
            <a:ext cx="155448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8" name="TextBox 7"/>
          <p:cNvSpPr txBox="1"/>
          <p:nvPr/>
        </p:nvSpPr>
        <p:spPr>
          <a:xfrm>
            <a:off x="320040" y="3749039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PM（项目经理）</a:t>
            </a:r>
          </a:p>
        </p:txBody>
      </p:sp>
      <p:sp>
        <p:nvSpPr>
          <p:cNvPr id="9" name="Rectangle 8"/>
          <p:cNvSpPr/>
          <p:nvPr/>
        </p:nvSpPr>
        <p:spPr>
          <a:xfrm>
            <a:off x="1965960" y="3749039"/>
            <a:ext cx="155448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10" name="TextBox 9"/>
          <p:cNvSpPr txBox="1"/>
          <p:nvPr/>
        </p:nvSpPr>
        <p:spPr>
          <a:xfrm>
            <a:off x="2011679" y="3749039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项目副PM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657600" y="3749039"/>
            <a:ext cx="155448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12" name="TextBox 11"/>
          <p:cNvSpPr txBox="1"/>
          <p:nvPr/>
        </p:nvSpPr>
        <p:spPr>
          <a:xfrm>
            <a:off x="3703320" y="3749039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营销副PM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349240" y="3749039"/>
            <a:ext cx="155448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14" name="TextBox 13"/>
          <p:cNvSpPr txBox="1"/>
          <p:nvPr/>
        </p:nvSpPr>
        <p:spPr>
          <a:xfrm>
            <a:off x="5394960" y="3749039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企划副PM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040880" y="3749039"/>
            <a:ext cx="155448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16" name="TextBox 15"/>
          <p:cNvSpPr txBox="1"/>
          <p:nvPr/>
        </p:nvSpPr>
        <p:spPr>
          <a:xfrm>
            <a:off x="7086600" y="3749039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成本副PM</a:t>
            </a:r>
          </a:p>
        </p:txBody>
      </p:sp>
      <p:sp>
        <p:nvSpPr>
          <p:cNvPr id="17" name="Rectangle 16"/>
          <p:cNvSpPr/>
          <p:nvPr/>
        </p:nvSpPr>
        <p:spPr>
          <a:xfrm>
            <a:off x="8732520" y="3749039"/>
            <a:ext cx="1554480" cy="228600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18" name="TextBox 17"/>
          <p:cNvSpPr txBox="1"/>
          <p:nvPr/>
        </p:nvSpPr>
        <p:spPr>
          <a:xfrm>
            <a:off x="8778240" y="3749039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质量副PM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74320" y="4069080"/>
            <a:ext cx="1554480" cy="228600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20" name="TextBox 19"/>
          <p:cNvSpPr txBox="1"/>
          <p:nvPr/>
        </p:nvSpPr>
        <p:spPr>
          <a:xfrm>
            <a:off x="320040" y="4069080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采购副PM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965960" y="4069080"/>
            <a:ext cx="1554480" cy="228600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22" name="TextBox 21"/>
          <p:cNvSpPr txBox="1"/>
          <p:nvPr/>
        </p:nvSpPr>
        <p:spPr>
          <a:xfrm>
            <a:off x="2011679" y="4069080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部品质量副PM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657600" y="4069080"/>
            <a:ext cx="1554480" cy="228600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24" name="TextBox 23"/>
          <p:cNvSpPr txBox="1"/>
          <p:nvPr/>
        </p:nvSpPr>
        <p:spPr>
          <a:xfrm>
            <a:off x="3703320" y="4069080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制造副PM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349240" y="4069080"/>
            <a:ext cx="1554480" cy="228600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26" name="TextBox 25"/>
          <p:cNvSpPr txBox="1"/>
          <p:nvPr/>
        </p:nvSpPr>
        <p:spPr>
          <a:xfrm>
            <a:off x="5394960" y="4069080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研发副PM(CCVE)</a:t>
            </a:r>
          </a:p>
        </p:txBody>
      </p:sp>
      <p:sp>
        <p:nvSpPr>
          <p:cNvPr id="27" name="Rectangle 26"/>
          <p:cNvSpPr/>
          <p:nvPr/>
        </p:nvSpPr>
        <p:spPr>
          <a:xfrm>
            <a:off x="7040880" y="4069080"/>
            <a:ext cx="1554480" cy="228600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28" name="TextBox 27"/>
          <p:cNvSpPr txBox="1"/>
          <p:nvPr/>
        </p:nvSpPr>
        <p:spPr>
          <a:xfrm>
            <a:off x="7086600" y="4069080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造型副PM</a:t>
            </a:r>
          </a:p>
        </p:txBody>
      </p:sp>
      <p:sp>
        <p:nvSpPr>
          <p:cNvPr id="29" name="Rectangle 28"/>
          <p:cNvSpPr/>
          <p:nvPr/>
        </p:nvSpPr>
        <p:spPr>
          <a:xfrm>
            <a:off x="8732520" y="4069080"/>
            <a:ext cx="1554480" cy="228600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30" name="TextBox 29"/>
          <p:cNvSpPr txBox="1"/>
          <p:nvPr/>
        </p:nvSpPr>
        <p:spPr>
          <a:xfrm>
            <a:off x="8778240" y="4069080"/>
            <a:ext cx="1463040" cy="228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1">
                <a:solidFill>
                  <a:srgbClr val="FFFFFF"/>
                </a:solidFill>
              </a:defRPr>
            </a:pPr>
            <a:r>
              <a:t>车型技术管理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74320" y="4434840"/>
            <a:ext cx="11430000" cy="9144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700" b="0">
                <a:solidFill>
                  <a:srgbClr val="66758D"/>
                </a:solidFill>
              </a:defRPr>
            </a:pPr>
            <a:r>
              <a:t>各领域下设专业联络人：整车性能集成 · 整车总布置 · 整车产品定义 · 场景体验设计 · 车身 · 内外饰 · 底盘 · 电子电器 · 软件集成 · 平台中心 · 新动力 · 车联网 · 法规 · 试验 · CAE仿真 · 项目管理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74320" y="5029200"/>
            <a:ext cx="11612880" cy="18288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33" name="TextBox 32"/>
          <p:cNvSpPr txBox="1"/>
          <p:nvPr/>
        </p:nvSpPr>
        <p:spPr>
          <a:xfrm>
            <a:off x="274320" y="5120640"/>
            <a:ext cx="45720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900" b="1">
                <a:solidFill>
                  <a:srgbClr val="0A3E45"/>
                </a:solidFill>
              </a:defRPr>
            </a:pPr>
            <a:r>
              <a:t>表4  项目角色和职能部门责任分工对照表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74320" y="6217920"/>
            <a:ext cx="274320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800" b="1">
                <a:solidFill>
                  <a:srgbClr val="8A7763"/>
                </a:solidFill>
              </a:defRPr>
            </a:pPr>
            <a:r>
              <a:t>SOCAR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200" b="1">
                <a:solidFill>
                  <a:srgbClr val="0A3E45"/>
                </a:solidFill>
              </a:defRPr>
            </a:pPr>
            <a:r>
              <a:t>项目角色和职能部门责任分工对照表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274320" y="914400"/>
          <a:ext cx="11612880" cy="548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3220"/>
                <a:gridCol w="2903220"/>
                <a:gridCol w="2903220"/>
                <a:gridCol w="2903220"/>
              </a:tblGrid>
              <a:tr h="228600">
                <a:tc>
                  <a:txBody>
                    <a:bodyPr/>
                    <a:lstStyle/>
                    <a:p>
                      <a:pPr>
                        <a:defRPr sz="700" b="1">
                          <a:solidFill>
                            <a:srgbClr val="FFFFFF"/>
                          </a:solidFill>
                        </a:defRPr>
                      </a:pPr>
                      <a:r>
                        <a:t>序号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 b="1">
                          <a:solidFill>
                            <a:srgbClr val="FFFFFF"/>
                          </a:solidFill>
                        </a:defRPr>
                      </a:pPr>
                      <a:r>
                        <a:t>项目角色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 b="1">
                          <a:solidFill>
                            <a:srgbClr val="FFFFFF"/>
                          </a:solidFill>
                        </a:defRPr>
                      </a:pPr>
                      <a:r>
                        <a:t>所属职能部门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 b="1">
                          <a:solidFill>
                            <a:srgbClr val="FFFFFF"/>
                          </a:solidFill>
                        </a:defRPr>
                      </a:pPr>
                      <a:r>
                        <a:t>备注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车型PM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项目管理分部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2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车型项目副PM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项目管理分部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3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营销副PM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销售公司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4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企划副PM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商品企划分部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5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成本副PM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6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质量副PM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质量保证部/质量验证中心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7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采购副PM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采购部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8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部品质量副PM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采购部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9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制造副PM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制造部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10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研发副PM（CCVE）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开发中心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11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造型副PM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造型中心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12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车型技术管理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开发中心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13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软件集成管理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开发中心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14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平台中心专业联络人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平台中心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15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新动力专业联络人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动力中心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16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车联网专业联络人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17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整车性能集成专业联络人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开发中心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18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整车总布置专业主管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开发中心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19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整车产品定义专业主管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开发中心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20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场景体验设计主管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开发中心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21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车身专业联络人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开发中心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22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内外饰专业联络人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开发中心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23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底盘专业联络人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  <a:r>
                        <a:t>乘用车开发中心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182033"/>
                          </a:solidFill>
                        </a:defRPr>
                      </a:pP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74320" y="6217920"/>
            <a:ext cx="2743200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800" b="1">
                <a:solidFill>
                  <a:srgbClr val="8A7763"/>
                </a:solidFill>
              </a:defRPr>
            </a:pPr>
            <a:r>
              <a:t>SOCAR</a:t>
            </a: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KSO_WPP_MARK_KEY" val="6a9a2728-4acc-46a3-b2f3-459162599332"/>
  <p:tag name="COMMONDATA" val="eyJoZGlkIjoiYTMwNzVjOTE2ZDdhMWI4ZGMxZWU0NzhmNjIwMWU3ZjIifQ=="/>
  <p:tag name="commondata" val="eyJoZGlkIjoiZWZlOTAxOWJhNzNiZTg5N2ViYWMwNWQ3MGY2ZDE0ODUifQ=="/>
  <p:tag name="resource_record_key" val="{&quot;29&quot;:[50000076]}"/>
</p:tagLst>
</file>

<file path=ppt/theme/theme1.xml><?xml version="1.0" encoding="utf-8"?>
<a:theme xmlns:a="http://schemas.openxmlformats.org/drawingml/2006/main" name="2_socar模板">
  <a:themeElements>
    <a:clrScheme name="socar">
      <a:dk1>
        <a:srgbClr val="0A3E45"/>
      </a:dk1>
      <a:lt1>
        <a:sysClr val="window" lastClr="FFFFFF"/>
      </a:lt1>
      <a:dk2>
        <a:srgbClr val="44546A"/>
      </a:dk2>
      <a:lt2>
        <a:srgbClr val="F2F2F2"/>
      </a:lt2>
      <a:accent1>
        <a:srgbClr val="0A3E45"/>
      </a:accent1>
      <a:accent2>
        <a:srgbClr val="039B9F"/>
      </a:accent2>
      <a:accent3>
        <a:srgbClr val="4CB6B9"/>
      </a:accent3>
      <a:accent4>
        <a:srgbClr val="9CD7D8"/>
      </a:accent4>
      <a:accent5>
        <a:srgbClr val="565960"/>
      </a:accent5>
      <a:accent6>
        <a:srgbClr val="0F5F6A"/>
      </a:accent6>
      <a:hlink>
        <a:srgbClr val="0563C1"/>
      </a:hlink>
      <a:folHlink>
        <a:srgbClr val="954F72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WPS 演示</Application>
  <PresentationFormat>宽屏</PresentationFormat>
  <Paragraphs>0</Paragraphs>
  <Slides>3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9" baseType="lpstr">
      <vt:lpstr>Arial</vt:lpstr>
      <vt:lpstr>宋体</vt:lpstr>
      <vt:lpstr>Wingdings</vt:lpstr>
      <vt:lpstr>Tw Cen MT</vt:lpstr>
      <vt:lpstr>Segoe Print</vt:lpstr>
      <vt:lpstr>Arial</vt:lpstr>
      <vt:lpstr>微软雅黑</vt:lpstr>
      <vt:lpstr>Segoe UI</vt:lpstr>
      <vt:lpstr>Wingdings</vt:lpstr>
      <vt:lpstr>Calibri</vt:lpstr>
      <vt:lpstr>Arial Unicode MS</vt:lpstr>
      <vt:lpstr>等线</vt:lpstr>
      <vt:lpstr>Century Gothic</vt:lpstr>
      <vt:lpstr>KSOF902680AF</vt:lpstr>
      <vt:lpstr>2_socar模板</vt:lpstr>
      <vt:lpstr>TCLayout.ActiveDocument.1</vt:lpstr>
      <vt:lpstr>PowerPoint 演示文稿</vt:lpstr>
      <vt:lpstr>什么是美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ueqi.li@so.car</dc:creator>
  <cp:lastModifiedBy>沙狐</cp:lastModifiedBy>
  <cp:revision>2949</cp:revision>
  <dcterms:created xsi:type="dcterms:W3CDTF">2023-02-11T14:27:00Z</dcterms:created>
  <dcterms:modified xsi:type="dcterms:W3CDTF">2026-06-07T14:0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68CF3A5D58F4481B879048873CE4971_13</vt:lpwstr>
  </property>
  <property fmtid="{D5CDD505-2E9C-101B-9397-08002B2CF9AE}" pid="3" name="KSOProductBuildVer">
    <vt:lpwstr>2052-12.1.0.26375</vt:lpwstr>
  </property>
</Properties>
</file>